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sldIdLst>
    <p:sldId id="256" r:id="rId2"/>
    <p:sldId id="257" r:id="rId3"/>
    <p:sldId id="258" r:id="rId4"/>
    <p:sldId id="259" r:id="rId5"/>
    <p:sldId id="264" r:id="rId6"/>
    <p:sldId id="261" r:id="rId7"/>
    <p:sldId id="260" r:id="rId8"/>
    <p:sldId id="262" r:id="rId9"/>
    <p:sldId id="263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CE30C32-529B-4565-ACD6-190C5A0E0EA9}" v="213" dt="2023-01-06T03:33:46.77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8" d="100"/>
          <a:sy n="68" d="100"/>
        </p:scale>
        <p:origin x="81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ashima Garg" userId="b74c44f3-5bc6-472a-9a33-600945f56c3d" providerId="ADAL" clId="{ACE30C32-529B-4565-ACD6-190C5A0E0EA9}"/>
    <pc:docChg chg="undo custSel addSld delSld modSld modMainMaster">
      <pc:chgData name="Aashima Garg" userId="b74c44f3-5bc6-472a-9a33-600945f56c3d" providerId="ADAL" clId="{ACE30C32-529B-4565-ACD6-190C5A0E0EA9}" dt="2023-01-06T03:33:46.299" v="310"/>
      <pc:docMkLst>
        <pc:docMk/>
      </pc:docMkLst>
      <pc:sldChg chg="addSp delSp modSp mod">
        <pc:chgData name="Aashima Garg" userId="b74c44f3-5bc6-472a-9a33-600945f56c3d" providerId="ADAL" clId="{ACE30C32-529B-4565-ACD6-190C5A0E0EA9}" dt="2023-01-06T03:32:40.774" v="264"/>
        <pc:sldMkLst>
          <pc:docMk/>
          <pc:sldMk cId="1247333095" sldId="256"/>
        </pc:sldMkLst>
        <pc:spChg chg="mod ord">
          <ac:chgData name="Aashima Garg" userId="b74c44f3-5bc6-472a-9a33-600945f56c3d" providerId="ADAL" clId="{ACE30C32-529B-4565-ACD6-190C5A0E0EA9}" dt="2023-01-06T03:32:40.768" v="260"/>
          <ac:spMkLst>
            <pc:docMk/>
            <pc:sldMk cId="1247333095" sldId="256"/>
            <ac:spMk id="7" creationId="{FBAC8C19-1E01-4B56-B071-44EF0C7EFAB2}"/>
          </ac:spMkLst>
        </pc:spChg>
        <pc:spChg chg="mod ord">
          <ac:chgData name="Aashima Garg" userId="b74c44f3-5bc6-472a-9a33-600945f56c3d" providerId="ADAL" clId="{ACE30C32-529B-4565-ACD6-190C5A0E0EA9}" dt="2023-01-06T03:32:40.769" v="262"/>
          <ac:spMkLst>
            <pc:docMk/>
            <pc:sldMk cId="1247333095" sldId="256"/>
            <ac:spMk id="8" creationId="{15F186C1-D669-45A9-A8E0-3C11C183D04C}"/>
          </ac:spMkLst>
        </pc:spChg>
        <pc:graphicFrameChg chg="mod">
          <ac:chgData name="Aashima Garg" userId="b74c44f3-5bc6-472a-9a33-600945f56c3d" providerId="ADAL" clId="{ACE30C32-529B-4565-ACD6-190C5A0E0EA9}" dt="2023-01-06T03:32:40.774" v="264"/>
          <ac:graphicFrameMkLst>
            <pc:docMk/>
            <pc:sldMk cId="1247333095" sldId="256"/>
            <ac:graphicFrameMk id="4" creationId="{77C442DF-93D6-43B3-8BBA-6EF6523E7B25}"/>
          </ac:graphicFrameMkLst>
        </pc:graphicFrameChg>
        <pc:picChg chg="del mod ord">
          <ac:chgData name="Aashima Garg" userId="b74c44f3-5bc6-472a-9a33-600945f56c3d" providerId="ADAL" clId="{ACE30C32-529B-4565-ACD6-190C5A0E0EA9}" dt="2023-01-06T03:26:22.050" v="192" actId="21"/>
          <ac:picMkLst>
            <pc:docMk/>
            <pc:sldMk cId="1247333095" sldId="256"/>
            <ac:picMk id="6" creationId="{0C7F6A2E-65F8-4A86-BF65-828E1832B731}"/>
          </ac:picMkLst>
        </pc:picChg>
        <pc:picChg chg="add mod ord">
          <ac:chgData name="Aashima Garg" userId="b74c44f3-5bc6-472a-9a33-600945f56c3d" providerId="ADAL" clId="{ACE30C32-529B-4565-ACD6-190C5A0E0EA9}" dt="2023-01-06T03:32:40.767" v="258"/>
          <ac:picMkLst>
            <pc:docMk/>
            <pc:sldMk cId="1247333095" sldId="256"/>
            <ac:picMk id="9" creationId="{8B576538-4F85-4C36-B16C-C035B2B9198E}"/>
          </ac:picMkLst>
        </pc:picChg>
        <pc:picChg chg="add del mod">
          <ac:chgData name="Aashima Garg" userId="b74c44f3-5bc6-472a-9a33-600945f56c3d" providerId="ADAL" clId="{ACE30C32-529B-4565-ACD6-190C5A0E0EA9}" dt="2023-01-06T03:32:37.375" v="256" actId="478"/>
          <ac:picMkLst>
            <pc:docMk/>
            <pc:sldMk cId="1247333095" sldId="256"/>
            <ac:picMk id="10" creationId="{DCE1EB5D-5EEB-4089-8C96-FFA147A6AA78}"/>
          </ac:picMkLst>
        </pc:picChg>
      </pc:sldChg>
      <pc:sldChg chg="addSp delSp modSp new add mod">
        <pc:chgData name="Aashima Garg" userId="b74c44f3-5bc6-472a-9a33-600945f56c3d" providerId="ADAL" clId="{ACE30C32-529B-4565-ACD6-190C5A0E0EA9}" dt="2023-01-06T03:32:49.685" v="280"/>
        <pc:sldMkLst>
          <pc:docMk/>
          <pc:sldMk cId="151782307" sldId="257"/>
        </pc:sldMkLst>
        <pc:spChg chg="del">
          <ac:chgData name="Aashima Garg" userId="b74c44f3-5bc6-472a-9a33-600945f56c3d" providerId="ADAL" clId="{ACE30C32-529B-4565-ACD6-190C5A0E0EA9}" dt="2023-01-06T03:32:49.052" v="267" actId="478"/>
          <ac:spMkLst>
            <pc:docMk/>
            <pc:sldMk cId="151782307" sldId="257"/>
            <ac:spMk id="2" creationId="{3A72F6A4-42FB-4C7F-9807-5FDEBC6B3550}"/>
          </ac:spMkLst>
        </pc:spChg>
        <pc:spChg chg="del">
          <ac:chgData name="Aashima Garg" userId="b74c44f3-5bc6-472a-9a33-600945f56c3d" providerId="ADAL" clId="{ACE30C32-529B-4565-ACD6-190C5A0E0EA9}" dt="2023-01-06T03:32:49.052" v="267" actId="478"/>
          <ac:spMkLst>
            <pc:docMk/>
            <pc:sldMk cId="151782307" sldId="257"/>
            <ac:spMk id="3" creationId="{D59FD92E-EFB4-4070-856F-8C62759F8F28}"/>
          </ac:spMkLst>
        </pc:spChg>
        <pc:graphicFrameChg chg="add mod modVis">
          <ac:chgData name="Aashima Garg" userId="b74c44f3-5bc6-472a-9a33-600945f56c3d" providerId="ADAL" clId="{ACE30C32-529B-4565-ACD6-190C5A0E0EA9}" dt="2023-01-06T03:32:49.685" v="280"/>
          <ac:graphicFrameMkLst>
            <pc:docMk/>
            <pc:sldMk cId="151782307" sldId="257"/>
            <ac:graphicFrameMk id="4" creationId="{E6E2A65C-D9A3-448B-9861-3F35F9AB8E01}"/>
          </ac:graphicFrameMkLst>
        </pc:graphicFrameChg>
      </pc:sldChg>
      <pc:sldChg chg="addSp delSp modSp new add del mod">
        <pc:chgData name="Aashima Garg" userId="b74c44f3-5bc6-472a-9a33-600945f56c3d" providerId="ADAL" clId="{ACE30C32-529B-4565-ACD6-190C5A0E0EA9}" dt="2023-01-06T03:26:57.609" v="252" actId="47"/>
        <pc:sldMkLst>
          <pc:docMk/>
          <pc:sldMk cId="697651615" sldId="257"/>
        </pc:sldMkLst>
        <pc:spChg chg="del">
          <ac:chgData name="Aashima Garg" userId="b74c44f3-5bc6-472a-9a33-600945f56c3d" providerId="ADAL" clId="{ACE30C32-529B-4565-ACD6-190C5A0E0EA9}" dt="2023-01-06T03:12:05.992" v="2" actId="478"/>
          <ac:spMkLst>
            <pc:docMk/>
            <pc:sldMk cId="697651615" sldId="257"/>
            <ac:spMk id="2" creationId="{262DF35C-5C9D-4974-8760-EA075E2D9092}"/>
          </ac:spMkLst>
        </pc:spChg>
        <pc:spChg chg="del">
          <ac:chgData name="Aashima Garg" userId="b74c44f3-5bc6-472a-9a33-600945f56c3d" providerId="ADAL" clId="{ACE30C32-529B-4565-ACD6-190C5A0E0EA9}" dt="2023-01-06T03:12:05.992" v="2" actId="478"/>
          <ac:spMkLst>
            <pc:docMk/>
            <pc:sldMk cId="697651615" sldId="257"/>
            <ac:spMk id="3" creationId="{4A4BC7D3-18B2-4165-AE2D-8E5A51296861}"/>
          </ac:spMkLst>
        </pc:spChg>
        <pc:graphicFrameChg chg="add mod modVis">
          <ac:chgData name="Aashima Garg" userId="b74c44f3-5bc6-472a-9a33-600945f56c3d" providerId="ADAL" clId="{ACE30C32-529B-4565-ACD6-190C5A0E0EA9}" dt="2023-01-06T03:26:12.879" v="190"/>
          <ac:graphicFrameMkLst>
            <pc:docMk/>
            <pc:sldMk cId="697651615" sldId="257"/>
            <ac:graphicFrameMk id="4" creationId="{2D289AFF-119D-463E-B2CC-45F33AAA2D7A}"/>
          </ac:graphicFrameMkLst>
        </pc:graphicFrameChg>
        <pc:picChg chg="add del mod ord">
          <ac:chgData name="Aashima Garg" userId="b74c44f3-5bc6-472a-9a33-600945f56c3d" providerId="ADAL" clId="{ACE30C32-529B-4565-ACD6-190C5A0E0EA9}" dt="2023-01-06T03:26:01.693" v="186" actId="478"/>
          <ac:picMkLst>
            <pc:docMk/>
            <pc:sldMk cId="697651615" sldId="257"/>
            <ac:picMk id="2" creationId="{484E5BD3-4382-4A5A-9CEE-6838A5479B40}"/>
          </ac:picMkLst>
        </pc:picChg>
      </pc:sldChg>
      <pc:sldChg chg="addSp delSp modSp new add mod">
        <pc:chgData name="Aashima Garg" userId="b74c44f3-5bc6-472a-9a33-600945f56c3d" providerId="ADAL" clId="{ACE30C32-529B-4565-ACD6-190C5A0E0EA9}" dt="2023-01-06T03:33:46.299" v="310"/>
        <pc:sldMkLst>
          <pc:docMk/>
          <pc:sldMk cId="610947592" sldId="258"/>
        </pc:sldMkLst>
        <pc:spChg chg="del mod">
          <ac:chgData name="Aashima Garg" userId="b74c44f3-5bc6-472a-9a33-600945f56c3d" providerId="ADAL" clId="{ACE30C32-529B-4565-ACD6-190C5A0E0EA9}" dt="2023-01-06T03:33:45.751" v="308" actId="478"/>
          <ac:spMkLst>
            <pc:docMk/>
            <pc:sldMk cId="610947592" sldId="258"/>
            <ac:spMk id="2" creationId="{5AFD3004-6E55-4A53-B047-DB26B9D252B6}"/>
          </ac:spMkLst>
        </pc:spChg>
        <pc:spChg chg="del">
          <ac:chgData name="Aashima Garg" userId="b74c44f3-5bc6-472a-9a33-600945f56c3d" providerId="ADAL" clId="{ACE30C32-529B-4565-ACD6-190C5A0E0EA9}" dt="2023-01-06T03:33:45.751" v="308" actId="478"/>
          <ac:spMkLst>
            <pc:docMk/>
            <pc:sldMk cId="610947592" sldId="258"/>
            <ac:spMk id="3" creationId="{000AF83F-385E-45A8-9391-E81EAED20069}"/>
          </ac:spMkLst>
        </pc:spChg>
        <pc:graphicFrameChg chg="add mod ord modVis">
          <ac:chgData name="Aashima Garg" userId="b74c44f3-5bc6-472a-9a33-600945f56c3d" providerId="ADAL" clId="{ACE30C32-529B-4565-ACD6-190C5A0E0EA9}" dt="2023-01-06T03:33:46.299" v="310"/>
          <ac:graphicFrameMkLst>
            <pc:docMk/>
            <pc:sldMk cId="610947592" sldId="258"/>
            <ac:graphicFrameMk id="4" creationId="{F6460009-6F35-4146-8B3E-25DB27D74890}"/>
          </ac:graphicFrameMkLst>
        </pc:graphicFrameChg>
      </pc:sldChg>
      <pc:sldChg chg="new add del">
        <pc:chgData name="Aashima Garg" userId="b74c44f3-5bc6-472a-9a33-600945f56c3d" providerId="ADAL" clId="{ACE30C32-529B-4565-ACD6-190C5A0E0EA9}" dt="2023-01-06T03:33:33.218" v="285" actId="47"/>
        <pc:sldMkLst>
          <pc:docMk/>
          <pc:sldMk cId="1422246995" sldId="258"/>
        </pc:sldMkLst>
      </pc:sldChg>
      <pc:sldChg chg="addSp delSp modSp new add del mod">
        <pc:chgData name="Aashima Garg" userId="b74c44f3-5bc6-472a-9a33-600945f56c3d" providerId="ADAL" clId="{ACE30C32-529B-4565-ACD6-190C5A0E0EA9}" dt="2023-01-06T03:14:23.222" v="161" actId="47"/>
        <pc:sldMkLst>
          <pc:docMk/>
          <pc:sldMk cId="3182936671" sldId="258"/>
        </pc:sldMkLst>
        <pc:spChg chg="del">
          <ac:chgData name="Aashima Garg" userId="b74c44f3-5bc6-472a-9a33-600945f56c3d" providerId="ADAL" clId="{ACE30C32-529B-4565-ACD6-190C5A0E0EA9}" dt="2023-01-06T03:14:13.121" v="131" actId="478"/>
          <ac:spMkLst>
            <pc:docMk/>
            <pc:sldMk cId="3182936671" sldId="258"/>
            <ac:spMk id="2" creationId="{7C5D277C-834E-4BEA-B435-B9EDA9FBAB0E}"/>
          </ac:spMkLst>
        </pc:spChg>
        <pc:spChg chg="del">
          <ac:chgData name="Aashima Garg" userId="b74c44f3-5bc6-472a-9a33-600945f56c3d" providerId="ADAL" clId="{ACE30C32-529B-4565-ACD6-190C5A0E0EA9}" dt="2023-01-06T03:14:11.263" v="130" actId="478"/>
          <ac:spMkLst>
            <pc:docMk/>
            <pc:sldMk cId="3182936671" sldId="258"/>
            <ac:spMk id="3" creationId="{B5BA3244-981D-4404-B6FA-19085F032859}"/>
          </ac:spMkLst>
        </pc:spChg>
        <pc:graphicFrameChg chg="add mod modVis">
          <ac:chgData name="Aashima Garg" userId="b74c44f3-5bc6-472a-9a33-600945f56c3d" providerId="ADAL" clId="{ACE30C32-529B-4565-ACD6-190C5A0E0EA9}" dt="2023-01-06T03:14:13.763" v="144"/>
          <ac:graphicFrameMkLst>
            <pc:docMk/>
            <pc:sldMk cId="3182936671" sldId="258"/>
            <ac:graphicFrameMk id="4" creationId="{1B94D04E-B87A-4116-AA82-345392251370}"/>
          </ac:graphicFrameMkLst>
        </pc:graphicFrameChg>
      </pc:sldChg>
      <pc:sldChg chg="new add del">
        <pc:chgData name="Aashima Garg" userId="b74c44f3-5bc6-472a-9a33-600945f56c3d" providerId="ADAL" clId="{ACE30C32-529B-4565-ACD6-190C5A0E0EA9}" dt="2023-01-06T03:33:33.884" v="286" actId="47"/>
        <pc:sldMkLst>
          <pc:docMk/>
          <pc:sldMk cId="2065396346" sldId="259"/>
        </pc:sldMkLst>
      </pc:sldChg>
      <pc:sldChg chg="addSp delSp modSp new add del mod">
        <pc:chgData name="Aashima Garg" userId="b74c44f3-5bc6-472a-9a33-600945f56c3d" providerId="ADAL" clId="{ACE30C32-529B-4565-ACD6-190C5A0E0EA9}" dt="2023-01-06T03:14:23.222" v="161" actId="47"/>
        <pc:sldMkLst>
          <pc:docMk/>
          <pc:sldMk cId="2093361001" sldId="259"/>
        </pc:sldMkLst>
        <pc:spChg chg="del">
          <ac:chgData name="Aashima Garg" userId="b74c44f3-5bc6-472a-9a33-600945f56c3d" providerId="ADAL" clId="{ACE30C32-529B-4565-ACD6-190C5A0E0EA9}" dt="2023-01-06T03:14:18.212" v="147" actId="478"/>
          <ac:spMkLst>
            <pc:docMk/>
            <pc:sldMk cId="2093361001" sldId="259"/>
            <ac:spMk id="2" creationId="{CC83E5E4-5065-4A75-813E-1D608F98649F}"/>
          </ac:spMkLst>
        </pc:spChg>
        <pc:spChg chg="del">
          <ac:chgData name="Aashima Garg" userId="b74c44f3-5bc6-472a-9a33-600945f56c3d" providerId="ADAL" clId="{ACE30C32-529B-4565-ACD6-190C5A0E0EA9}" dt="2023-01-06T03:14:18.212" v="147" actId="478"/>
          <ac:spMkLst>
            <pc:docMk/>
            <pc:sldMk cId="2093361001" sldId="259"/>
            <ac:spMk id="3" creationId="{5D9CDE8C-354A-4F4A-9986-28E2BC6E9986}"/>
          </ac:spMkLst>
        </pc:spChg>
        <pc:graphicFrameChg chg="add mod modVis">
          <ac:chgData name="Aashima Garg" userId="b74c44f3-5bc6-472a-9a33-600945f56c3d" providerId="ADAL" clId="{ACE30C32-529B-4565-ACD6-190C5A0E0EA9}" dt="2023-01-06T03:14:18.802" v="160"/>
          <ac:graphicFrameMkLst>
            <pc:docMk/>
            <pc:sldMk cId="2093361001" sldId="259"/>
            <ac:graphicFrameMk id="4" creationId="{2A636519-C964-420F-9282-6C0C07755398}"/>
          </ac:graphicFrameMkLst>
        </pc:graphicFrameChg>
      </pc:sldChg>
      <pc:sldChg chg="new add del">
        <pc:chgData name="Aashima Garg" userId="b74c44f3-5bc6-472a-9a33-600945f56c3d" providerId="ADAL" clId="{ACE30C32-529B-4565-ACD6-190C5A0E0EA9}" dt="2023-01-06T03:33:41.995" v="291" actId="47"/>
        <pc:sldMkLst>
          <pc:docMk/>
          <pc:sldMk cId="2222643259" sldId="259"/>
        </pc:sldMkLst>
      </pc:sldChg>
      <pc:sldMasterChg chg="addSp delSp modSp mod modSldLayout">
        <pc:chgData name="Aashima Garg" userId="b74c44f3-5bc6-472a-9a33-600945f56c3d" providerId="ADAL" clId="{ACE30C32-529B-4565-ACD6-190C5A0E0EA9}" dt="2023-01-06T03:32:26.470" v="253" actId="21"/>
        <pc:sldMasterMkLst>
          <pc:docMk/>
          <pc:sldMasterMk cId="4190021550" sldId="2147483648"/>
        </pc:sldMasterMkLst>
        <pc:spChg chg="mod ord">
          <ac:chgData name="Aashima Garg" userId="b74c44f3-5bc6-472a-9a33-600945f56c3d" providerId="ADAL" clId="{ACE30C32-529B-4565-ACD6-190C5A0E0EA9}" dt="2023-01-06T03:26:37.981" v="235"/>
          <ac:spMkLst>
            <pc:docMk/>
            <pc:sldMasterMk cId="4190021550" sldId="2147483648"/>
            <ac:spMk id="2" creationId="{4124F2E4-25E1-41CA-B456-8374D441DBC1}"/>
          </ac:spMkLst>
        </pc:spChg>
        <pc:spChg chg="mod ord">
          <ac:chgData name="Aashima Garg" userId="b74c44f3-5bc6-472a-9a33-600945f56c3d" providerId="ADAL" clId="{ACE30C32-529B-4565-ACD6-190C5A0E0EA9}" dt="2023-01-06T03:26:37.982" v="237"/>
          <ac:spMkLst>
            <pc:docMk/>
            <pc:sldMasterMk cId="4190021550" sldId="2147483648"/>
            <ac:spMk id="3" creationId="{3CC0114B-33F8-4C11-B581-85450A5A8E3D}"/>
          </ac:spMkLst>
        </pc:spChg>
        <pc:spChg chg="mod ord">
          <ac:chgData name="Aashima Garg" userId="b74c44f3-5bc6-472a-9a33-600945f56c3d" providerId="ADAL" clId="{ACE30C32-529B-4565-ACD6-190C5A0E0EA9}" dt="2023-01-06T03:26:37.982" v="239"/>
          <ac:spMkLst>
            <pc:docMk/>
            <pc:sldMasterMk cId="4190021550" sldId="2147483648"/>
            <ac:spMk id="4" creationId="{3E417C7E-D38A-40BA-B2B3-E4DCF93DC52A}"/>
          </ac:spMkLst>
        </pc:spChg>
        <pc:spChg chg="mod ord">
          <ac:chgData name="Aashima Garg" userId="b74c44f3-5bc6-472a-9a33-600945f56c3d" providerId="ADAL" clId="{ACE30C32-529B-4565-ACD6-190C5A0E0EA9}" dt="2023-01-06T03:26:37.983" v="241"/>
          <ac:spMkLst>
            <pc:docMk/>
            <pc:sldMasterMk cId="4190021550" sldId="2147483648"/>
            <ac:spMk id="5" creationId="{3D77F048-5DC0-48F3-9C39-34D6D091E4EE}"/>
          </ac:spMkLst>
        </pc:spChg>
        <pc:spChg chg="mod ord">
          <ac:chgData name="Aashima Garg" userId="b74c44f3-5bc6-472a-9a33-600945f56c3d" providerId="ADAL" clId="{ACE30C32-529B-4565-ACD6-190C5A0E0EA9}" dt="2023-01-06T03:26:37.983" v="243"/>
          <ac:spMkLst>
            <pc:docMk/>
            <pc:sldMasterMk cId="4190021550" sldId="2147483648"/>
            <ac:spMk id="6" creationId="{95B66EBB-19F8-4AB9-92B2-35F6CC61ECFD}"/>
          </ac:spMkLst>
        </pc:spChg>
        <pc:spChg chg="add del mod modVis">
          <ac:chgData name="Aashima Garg" userId="b74c44f3-5bc6-472a-9a33-600945f56c3d" providerId="ADAL" clId="{ACE30C32-529B-4565-ACD6-190C5A0E0EA9}" dt="2023-01-06T03:26:37.985" v="247"/>
          <ac:spMkLst>
            <pc:docMk/>
            <pc:sldMasterMk cId="4190021550" sldId="2147483648"/>
            <ac:spMk id="7" creationId="{4FAAFDE5-1E84-4301-98B1-6BBABBC01AFE}"/>
          </ac:spMkLst>
        </pc:spChg>
        <pc:graphicFrameChg chg="mod">
          <ac:chgData name="Aashima Garg" userId="b74c44f3-5bc6-472a-9a33-600945f56c3d" providerId="ADAL" clId="{ACE30C32-529B-4565-ACD6-190C5A0E0EA9}" dt="2023-01-06T03:26:37.987" v="249"/>
          <ac:graphicFrameMkLst>
            <pc:docMk/>
            <pc:sldMasterMk cId="4190021550" sldId="2147483648"/>
            <ac:graphicFrameMk id="8" creationId="{C6593B60-5D2A-4BA1-A667-071BDB0A2475}"/>
          </ac:graphicFrameMkLst>
        </pc:graphicFrameChg>
        <pc:picChg chg="add mod ord">
          <ac:chgData name="Aashima Garg" userId="b74c44f3-5bc6-472a-9a33-600945f56c3d" providerId="ADAL" clId="{ACE30C32-529B-4565-ACD6-190C5A0E0EA9}" dt="2023-01-06T03:26:51.397" v="251" actId="1076"/>
          <ac:picMkLst>
            <pc:docMk/>
            <pc:sldMasterMk cId="4190021550" sldId="2147483648"/>
            <ac:picMk id="9" creationId="{80382B7A-AF5A-4313-80D9-E3E3ABF4A87B}"/>
          </ac:picMkLst>
        </pc:picChg>
        <pc:picChg chg="add del mod ord">
          <ac:chgData name="Aashima Garg" userId="b74c44f3-5bc6-472a-9a33-600945f56c3d" providerId="ADAL" clId="{ACE30C32-529B-4565-ACD6-190C5A0E0EA9}" dt="2023-01-06T03:32:26.470" v="253" actId="21"/>
          <ac:picMkLst>
            <pc:docMk/>
            <pc:sldMasterMk cId="4190021550" sldId="2147483648"/>
            <ac:picMk id="10" creationId="{B451F8AB-80B7-478D-BDF6-967B7704FC80}"/>
          </ac:picMkLst>
        </pc:picChg>
        <pc:sldLayoutChg chg="addSp delSp modSp mod">
          <pc:chgData name="Aashima Garg" userId="b74c44f3-5bc6-472a-9a33-600945f56c3d" providerId="ADAL" clId="{ACE30C32-529B-4565-ACD6-190C5A0E0EA9}" dt="2023-01-06T03:13:21.249" v="126" actId="21"/>
          <pc:sldLayoutMkLst>
            <pc:docMk/>
            <pc:sldMasterMk cId="4190021550" sldId="2147483648"/>
            <pc:sldLayoutMk cId="1724052534" sldId="2147483650"/>
          </pc:sldLayoutMkLst>
          <pc:spChg chg="mod">
            <ac:chgData name="Aashima Garg" userId="b74c44f3-5bc6-472a-9a33-600945f56c3d" providerId="ADAL" clId="{ACE30C32-529B-4565-ACD6-190C5A0E0EA9}" dt="2023-01-06T03:12:37.679" v="116" actId="1076"/>
            <ac:spMkLst>
              <pc:docMk/>
              <pc:sldMasterMk cId="4190021550" sldId="2147483648"/>
              <pc:sldLayoutMk cId="1724052534" sldId="2147483650"/>
              <ac:spMk id="2" creationId="{DE832012-DBBB-4133-ACC1-C15707408EF1}"/>
            </ac:spMkLst>
          </pc:spChg>
          <pc:spChg chg="add del mod modVis">
            <ac:chgData name="Aashima Garg" userId="b74c44f3-5bc6-472a-9a33-600945f56c3d" providerId="ADAL" clId="{ACE30C32-529B-4565-ACD6-190C5A0E0EA9}" dt="2023-01-06T03:12:37.678" v="114" actId="962"/>
            <ac:spMkLst>
              <pc:docMk/>
              <pc:sldMasterMk cId="4190021550" sldId="2147483648"/>
              <pc:sldLayoutMk cId="1724052534" sldId="2147483650"/>
              <ac:spMk id="7" creationId="{A9E78ABA-683E-46D0-B277-2DC4D090B107}"/>
            </ac:spMkLst>
          </pc:spChg>
          <pc:graphicFrameChg chg="add mod ord modVis">
            <ac:chgData name="Aashima Garg" userId="b74c44f3-5bc6-472a-9a33-600945f56c3d" providerId="ADAL" clId="{ACE30C32-529B-4565-ACD6-190C5A0E0EA9}" dt="2023-01-06T03:12:37.659" v="78" actId="14100"/>
            <ac:graphicFrameMkLst>
              <pc:docMk/>
              <pc:sldMasterMk cId="4190021550" sldId="2147483648"/>
              <pc:sldLayoutMk cId="1724052534" sldId="2147483650"/>
              <ac:graphicFrameMk id="8" creationId="{F1146893-EC65-48D6-8B55-41BCB42CBCEF}"/>
            </ac:graphicFrameMkLst>
          </pc:graphicFrameChg>
          <pc:picChg chg="add del mod">
            <ac:chgData name="Aashima Garg" userId="b74c44f3-5bc6-472a-9a33-600945f56c3d" providerId="ADAL" clId="{ACE30C32-529B-4565-ACD6-190C5A0E0EA9}" dt="2023-01-06T03:13:21.249" v="126" actId="21"/>
            <ac:picMkLst>
              <pc:docMk/>
              <pc:sldMasterMk cId="4190021550" sldId="2147483648"/>
              <pc:sldLayoutMk cId="1724052534" sldId="2147483650"/>
              <ac:picMk id="10" creationId="{F0D8B13E-32D4-4487-A031-C078543F258F}"/>
            </ac:picMkLst>
          </pc:pic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08B8C2-7CFC-4BFF-9B96-9B3EACD4C28B}" type="datetimeFigureOut">
              <a:rPr lang="en-IN" smtClean="0"/>
              <a:t>06-01-2023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6C28EC-4D25-462E-A45F-F7CB2005B40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225823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795BD-A9EF-4FB7-A6DE-FBC97786DC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75A91A7-ED96-4464-954A-E36EBDB23B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C6AFE4-A3EA-4500-A632-EEE9B0238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4-01-2023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A6B1F9-ACF2-47BC-8C89-F029A76F21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Climate Champions: Localise the Net Zero 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879E8F-C070-48CE-B1E9-EB16943D7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DB537-B188-4FDA-8633-E325FA7C3E8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547956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F0A7EF-512F-40DF-BA8B-34B0DFB31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35143DE-AAEA-4B3F-A4FA-2897D8E912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2A024C-B9FA-4FFB-91AB-A793452142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4-01-2023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39402C-779B-4F98-97E4-6B3FD5F3BE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Climate Champions: Localise the Net Zero 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6A3A29-9D64-4363-82FC-B99C4E08E6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DB537-B188-4FDA-8633-E325FA7C3E8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152097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D81F4A-C0EA-4D0A-AD1D-BA829A19C70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DCE67F-E534-48D4-9918-B6CFEF9183C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E87ACE-5931-44D2-9ADE-6E907E0F11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4-01-2023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9E6F73-F549-4C52-B3A2-ADF69DB22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Climate Champions: Localise the Net Zero 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E3B516-FFD1-4CF5-835D-348B6AE48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DB537-B188-4FDA-8633-E325FA7C3E8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655930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832012-DBBB-4133-ACC1-C15707408E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458697-87DA-46FE-A868-DE7B96036A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A6563A-E0C4-492C-99AC-4D64DFC63E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4-01-2023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BD3ED9-1D0B-490C-9920-1EE0AE50B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Climate Champions: Localise the Net Zero 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70718B-B24D-4C0E-9F1A-94E0A91196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DB537-B188-4FDA-8633-E325FA7C3E8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240525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C3B887-4FDA-45F9-8CD2-CD68A8D8D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1C0E64-68CF-4ABB-ABAD-FDFBBBA614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2550A3-5627-45EF-A66E-154937EF70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4-01-2023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365781-026D-4377-AA0A-C960A6213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Climate Champions: Localise the Net Zero 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D737F1-F4F2-498C-9EA6-D9BA7542E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DB537-B188-4FDA-8633-E325FA7C3E8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070630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9DC7DA-F9BF-445B-8FCF-3FFEC0C9B1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0F6553-CAD1-4360-B698-1628814DE43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61CA9B2-CB67-4795-92BB-043C76400A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8F5AC45-01A4-497B-BC9F-92A9BA227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4-01-2023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AE6622-56FC-406C-927D-F82BE562AE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Climate Champions: Localise the Net Zero Agenda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80E9E3-3ED0-4C34-A0BD-8054830D7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DB537-B188-4FDA-8633-E325FA7C3E8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283071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1702F-925A-4200-937E-2E59942E9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E06BC-6881-4D38-853C-29A981A205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297B43-3FB5-4BFF-B33B-72C0BD31B6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F47004-1007-4D89-AF1B-16C1BD67D7E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1ADD13-636B-47DA-AEE6-162F496CC1B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BBB9BC-EE57-4DBB-9D72-CFCFFFCC94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4-01-2023</a:t>
            </a:r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607B689-23AE-4FD5-AA56-1296CF5162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Climate Champions: Localise the Net Zero Agenda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5BF55A-4165-40CA-B891-230388BDB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DB537-B188-4FDA-8633-E325FA7C3E8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852592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610BEB-ADB4-406A-A7B8-9E668CC7C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29F2793-1D76-4EBB-A8BD-9BC7457D66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4-01-2023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B44B37-6EC8-4F02-9133-236D07787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Climate Champions: Localise the Net Zero Agend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6C16C5-C1BD-407D-9C13-58909B5BE1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DB537-B188-4FDA-8633-E325FA7C3E8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726255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0D12886-CE64-4C0C-9E01-334DB19602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4-01-2023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8C0CAD-61F9-4007-8738-B1DA15FEB7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Climate Champions: Localise the Net Zero 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3E3B2C-2304-41C1-A05A-400AB3D743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DB537-B188-4FDA-8633-E325FA7C3E8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147265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1DDD6C-8A64-40E9-BC57-8897338B48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F0AB72-9159-4EB6-B836-D1216659DC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5EFC0E-35F3-45AF-A4FC-993DF121C4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7F86D6-D880-47D1-851F-0E2B5A300C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4-01-2023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291CEB-6F02-48AC-8068-8644F3B296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Climate Champions: Localise the Net Zero Agenda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304A6FF-DCAC-4437-8F49-B2A8D06D1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DB537-B188-4FDA-8633-E325FA7C3E8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483352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FAEE2D-4DAF-4108-B598-C980685931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09A360-44DA-43E5-A4F6-6EB8FC17C4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D17E2E-45CC-4C3C-A934-73C547555C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A3725F-F671-454D-A318-79758263C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4-01-2023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29F012-F7CF-4067-8FD9-520F01909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Climate Champions: Localise the Net Zero Agenda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D741EAC-CEBB-41D5-8EE4-22258EF261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DB537-B188-4FDA-8633-E325FA7C3E8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394036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93B60-5D2A-4BA1-A667-071BDB0A24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62717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93B60-5D2A-4BA1-A667-071BDB0A24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24F2E4-25E1-41CA-B456-8374D441DB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C0114B-33F8-4C11-B581-85450A5A8E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417C7E-D38A-40BA-B2B3-E4DCF93DC5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14-01-2023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77F048-5DC0-48F3-9C39-34D6D091E4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IN"/>
              <a:t>Climate Champions: Localise the Net Zero 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B66EBB-19F8-4AB9-92B2-35F6CC61EC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8DB537-B188-4FDA-8633-E325FA7C3E8C}" type="slidenum">
              <a:rPr lang="en-IN" smtClean="0"/>
              <a:t>‹#›</a:t>
            </a:fld>
            <a:endParaRPr lang="en-IN"/>
          </a:p>
        </p:txBody>
      </p:sp>
      <p:pic>
        <p:nvPicPr>
          <p:cNvPr id="9" name="Picture 8" descr="Shape, arrow&#10;&#10;Description automatically generated">
            <a:extLst>
              <a:ext uri="{FF2B5EF4-FFF2-40B4-BE49-F238E27FC236}">
                <a16:creationId xmlns:a16="http://schemas.microsoft.com/office/drawing/2014/main" id="{80382B7A-AF5A-4313-80D9-E3E3ABF4A87B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4382" y="136525"/>
            <a:ext cx="857971" cy="857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02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7C442DF-93D6-43B3-8BBA-6EF6523E7B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6128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7C442DF-93D6-43B3-8BBA-6EF6523E7B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Shape, arrow&#10;&#10;Description automatically generated">
            <a:extLst>
              <a:ext uri="{FF2B5EF4-FFF2-40B4-BE49-F238E27FC236}">
                <a16:creationId xmlns:a16="http://schemas.microsoft.com/office/drawing/2014/main" id="{8B576538-4F85-4C36-B16C-C035B2B9198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600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BAC8C19-1E01-4B56-B071-44EF0C7EFAB2}"/>
              </a:ext>
            </a:extLst>
          </p:cNvPr>
          <p:cNvSpPr txBox="1"/>
          <p:nvPr/>
        </p:nvSpPr>
        <p:spPr>
          <a:xfrm>
            <a:off x="7902482" y="3082659"/>
            <a:ext cx="412058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4400" dirty="0">
                <a:latin typeface="Georgia" panose="02040502050405020303" pitchFamily="18" charset="0"/>
                <a:cs typeface="Times New Roman" panose="02020603050405020304" pitchFamily="18" charset="0"/>
              </a:rPr>
              <a:t>Speaker N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F186C1-D669-45A9-A8E0-3C11C183D04C}"/>
              </a:ext>
            </a:extLst>
          </p:cNvPr>
          <p:cNvSpPr txBox="1"/>
          <p:nvPr/>
        </p:nvSpPr>
        <p:spPr>
          <a:xfrm>
            <a:off x="7902482" y="3852100"/>
            <a:ext cx="41205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2800" dirty="0">
                <a:solidFill>
                  <a:srgbClr val="FF0000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Design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483A89E-AFE5-7DB8-035B-6F7BB1165179}"/>
              </a:ext>
            </a:extLst>
          </p:cNvPr>
          <p:cNvSpPr txBox="1"/>
          <p:nvPr/>
        </p:nvSpPr>
        <p:spPr>
          <a:xfrm>
            <a:off x="6911808" y="4480367"/>
            <a:ext cx="4886178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2400" b="1" dirty="0">
                <a:solidFill>
                  <a:schemeClr val="bg1"/>
                </a:solidFill>
                <a:effectLst/>
                <a:latin typeface="Georgia" panose="02040502050405020303" pitchFamily="18" charset="0"/>
              </a:rPr>
              <a:t>Climate Champions: </a:t>
            </a:r>
          </a:p>
          <a:p>
            <a:pPr algn="r"/>
            <a:r>
              <a:rPr lang="en-IN" sz="2400" b="1" dirty="0">
                <a:solidFill>
                  <a:schemeClr val="bg1"/>
                </a:solidFill>
                <a:effectLst/>
                <a:latin typeface="Georgia" panose="02040502050405020303" pitchFamily="18" charset="0"/>
              </a:rPr>
              <a:t>Localise the Net Zero Agenda</a:t>
            </a:r>
          </a:p>
          <a:p>
            <a:pPr algn="r"/>
            <a:r>
              <a:rPr lang="en-IN" sz="2000" dirty="0">
                <a:solidFill>
                  <a:schemeClr val="bg1"/>
                </a:solidFill>
                <a:latin typeface="Georgia" panose="02040502050405020303" pitchFamily="18" charset="0"/>
              </a:rPr>
              <a:t>14</a:t>
            </a:r>
            <a:r>
              <a:rPr lang="en-IN" sz="2000" baseline="30000" dirty="0">
                <a:solidFill>
                  <a:schemeClr val="bg1"/>
                </a:solidFill>
                <a:latin typeface="Georgia" panose="02040502050405020303" pitchFamily="18" charset="0"/>
              </a:rPr>
              <a:t>th</a:t>
            </a:r>
            <a:r>
              <a:rPr lang="en-IN" sz="2000" dirty="0">
                <a:solidFill>
                  <a:schemeClr val="bg1"/>
                </a:solidFill>
                <a:latin typeface="Georgia" panose="02040502050405020303" pitchFamily="18" charset="0"/>
              </a:rPr>
              <a:t> January 2023</a:t>
            </a:r>
            <a:endParaRPr lang="en-IN" sz="2000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EEFF50E-7F3A-BF7A-376E-EF59E14D8AE2}"/>
              </a:ext>
            </a:extLst>
          </p:cNvPr>
          <p:cNvSpPr txBox="1"/>
          <p:nvPr/>
        </p:nvSpPr>
        <p:spPr>
          <a:xfrm>
            <a:off x="6738425" y="946472"/>
            <a:ext cx="50595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cs typeface="Times New Roman" panose="02020603050405020304" pitchFamily="18" charset="0"/>
              </a:rPr>
              <a:t>Talk Title</a:t>
            </a:r>
            <a:endParaRPr lang="en-IN" sz="32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73330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E2A65C-D9A3-448B-9861-3F35F9AB8E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0827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E2A65C-D9A3-448B-9861-3F35F9AB8E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4B881D-83F0-FF34-648F-AC3A1A607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36525"/>
            <a:ext cx="10515600" cy="850437"/>
          </a:xfrm>
        </p:spPr>
        <p:txBody>
          <a:bodyPr>
            <a:normAutofit/>
          </a:bodyPr>
          <a:lstStyle/>
          <a:p>
            <a:r>
              <a:rPr lang="en-US" sz="4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cs typeface="Times New Roman" panose="02020603050405020304" pitchFamily="18" charset="0"/>
              </a:rPr>
              <a:t>Inception of the Idea – Start of the Journey</a:t>
            </a:r>
            <a:endParaRPr lang="en-IN" sz="4000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A4C2B8-B0EA-3464-CD81-08CECE865B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488000"/>
            <a:ext cx="10641037" cy="4926867"/>
          </a:xfrm>
        </p:spPr>
        <p:txBody>
          <a:bodyPr/>
          <a:lstStyle/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 err="1">
                <a:latin typeface="Georgia" panose="02040502050405020303" pitchFamily="18" charset="0"/>
              </a:rPr>
              <a:t>abc</a:t>
            </a:r>
            <a:endParaRPr lang="en-IN" dirty="0">
              <a:latin typeface="Georgia" panose="02040502050405020303" pitchFamily="18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208A468-7690-D337-6EE0-83708AEA7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4-01-2023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D0C132-0762-FBA5-563A-145C91033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b="1">
                <a:latin typeface="Georgia" panose="02040502050405020303" pitchFamily="18" charset="0"/>
              </a:rPr>
              <a:t>Climate Champions: Localise the Net Zero Agenda</a:t>
            </a:r>
            <a:endParaRPr lang="en-IN" b="1" dirty="0">
              <a:latin typeface="Georgia" panose="02040502050405020303" pitchFamily="18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270EF9-0BB3-D12A-CBAB-C73E7446D8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DB537-B188-4FDA-8633-E325FA7C3E8C}" type="slidenum">
              <a:rPr lang="en-IN" smtClean="0"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1782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E2A65C-D9A3-448B-9861-3F35F9AB8E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E2A65C-D9A3-448B-9861-3F35F9AB8E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230D5A4-BFBE-C853-DBBD-5AA4D4418B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4-01-2023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2A2468-7920-6FC3-EC9F-BED0A76871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Climate Champions: Localise the Net Zero 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FBF509-C35F-1EC8-6411-363426C7E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DB537-B188-4FDA-8633-E325FA7C3E8C}" type="slidenum">
              <a:rPr lang="en-IN" smtClean="0"/>
              <a:t>3</a:t>
            </a:fld>
            <a:endParaRPr lang="en-IN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25F0F66-ADAD-A422-67BA-801CE01B4F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36525"/>
            <a:ext cx="10515600" cy="850437"/>
          </a:xfrm>
        </p:spPr>
        <p:txBody>
          <a:bodyPr>
            <a:normAutofit/>
          </a:bodyPr>
          <a:lstStyle/>
          <a:p>
            <a:r>
              <a:rPr lang="en-US" sz="4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cs typeface="Times New Roman" panose="02020603050405020304" pitchFamily="18" charset="0"/>
              </a:rPr>
              <a:t>Challenges During the Journey</a:t>
            </a:r>
            <a:endParaRPr lang="en-IN" sz="4000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9364F5C-DFAF-A4D1-C70F-496BFB3DC619}"/>
              </a:ext>
            </a:extLst>
          </p:cNvPr>
          <p:cNvSpPr txBox="1">
            <a:spLocks/>
          </p:cNvSpPr>
          <p:nvPr/>
        </p:nvSpPr>
        <p:spPr>
          <a:xfrm>
            <a:off x="838199" y="1488000"/>
            <a:ext cx="10641037" cy="492686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>
                <a:latin typeface="Georgia" panose="02040502050405020303" pitchFamily="18" charset="0"/>
              </a:rPr>
              <a:t>abc</a:t>
            </a:r>
            <a:endParaRPr lang="en-IN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61864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E2A65C-D9A3-448B-9861-3F35F9AB8E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E2A65C-D9A3-448B-9861-3F35F9AB8E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4B881D-83F0-FF34-648F-AC3A1A607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658" y="294787"/>
            <a:ext cx="10515600" cy="760290"/>
          </a:xfrm>
        </p:spPr>
        <p:txBody>
          <a:bodyPr/>
          <a:lstStyle/>
          <a:p>
            <a:r>
              <a:rPr lang="en-US" sz="4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cs typeface="Times New Roman" panose="02020603050405020304" pitchFamily="18" charset="0"/>
              </a:rPr>
              <a:t>Observations/Outcomes</a:t>
            </a:r>
            <a:endParaRPr lang="en-IN" sz="4000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D3E49D-AF30-6D21-6A4D-A883A06CAE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4-01-2023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C62272-F183-6525-F7C8-4AC0858FCD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Climate Champions: Localise the Net Zero 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026E47-95CC-648C-F053-315343B085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DB537-B188-4FDA-8633-E325FA7C3E8C}" type="slidenum">
              <a:rPr lang="en-IN" smtClean="0"/>
              <a:t>4</a:t>
            </a:fld>
            <a:endParaRPr lang="en-IN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4A89B3F-7EA7-3882-F3FB-7D6A6453EED1}"/>
              </a:ext>
            </a:extLst>
          </p:cNvPr>
          <p:cNvSpPr txBox="1">
            <a:spLocks/>
          </p:cNvSpPr>
          <p:nvPr/>
        </p:nvSpPr>
        <p:spPr>
          <a:xfrm>
            <a:off x="838199" y="1488000"/>
            <a:ext cx="10641037" cy="492686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>
                <a:latin typeface="Georgia" panose="02040502050405020303" pitchFamily="18" charset="0"/>
              </a:rPr>
              <a:t>abc</a:t>
            </a:r>
            <a:endParaRPr lang="en-IN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67801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25A718-B07D-0710-3055-621B07C15C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4-01-2023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94351B-092A-EA79-7E70-9306A93053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Climate Champions: Localise the Net Zero Agend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915B6F-59BC-D06F-F665-B6D487AC3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DB537-B188-4FDA-8633-E325FA7C3E8C}" type="slidenum">
              <a:rPr lang="en-IN" smtClean="0"/>
              <a:t>5</a:t>
            </a:fld>
            <a:endParaRPr lang="en-IN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34850AC-44BD-87F8-F012-1B9C80EAE1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658" y="266652"/>
            <a:ext cx="10515600" cy="760290"/>
          </a:xfrm>
        </p:spPr>
        <p:txBody>
          <a:bodyPr/>
          <a:lstStyle/>
          <a:p>
            <a:r>
              <a:rPr lang="en-US" sz="4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cs typeface="Times New Roman" panose="02020603050405020304" pitchFamily="18" charset="0"/>
              </a:rPr>
              <a:t>Achievements</a:t>
            </a:r>
            <a:endParaRPr lang="en-IN" sz="4000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852AEAD-AD3B-A877-1BC1-70DB9621DEB5}"/>
              </a:ext>
            </a:extLst>
          </p:cNvPr>
          <p:cNvSpPr txBox="1">
            <a:spLocks/>
          </p:cNvSpPr>
          <p:nvPr/>
        </p:nvSpPr>
        <p:spPr>
          <a:xfrm>
            <a:off x="838199" y="1488000"/>
            <a:ext cx="10641037" cy="492686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>
                <a:latin typeface="Georgia" panose="02040502050405020303" pitchFamily="18" charset="0"/>
              </a:rPr>
              <a:t>abc</a:t>
            </a:r>
            <a:endParaRPr lang="en-IN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49417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E2A65C-D9A3-448B-9861-3F35F9AB8E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E2A65C-D9A3-448B-9861-3F35F9AB8E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F58373-1216-9B34-0EC5-7287A48905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4-01-2023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9EB5B6-BA7C-90BE-8785-650F643A96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Climate Champions: Localise the Net Zero 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EBF04B-8A90-EB0D-8C88-4E426A956E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DB537-B188-4FDA-8633-E325FA7C3E8C}" type="slidenum">
              <a:rPr lang="en-IN" smtClean="0"/>
              <a:t>6</a:t>
            </a:fld>
            <a:endParaRPr lang="en-IN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DEA4AF3-AD7D-95DC-1D98-8FC3F6FDC7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658" y="266652"/>
            <a:ext cx="10515600" cy="760290"/>
          </a:xfrm>
        </p:spPr>
        <p:txBody>
          <a:bodyPr/>
          <a:lstStyle/>
          <a:p>
            <a:r>
              <a:rPr lang="en-US" sz="4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cs typeface="Times New Roman" panose="02020603050405020304" pitchFamily="18" charset="0"/>
              </a:rPr>
              <a:t>The Way Forward</a:t>
            </a:r>
            <a:endParaRPr lang="en-IN" sz="4000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7B55E25-5F22-B17B-FD0A-BAE08756C38E}"/>
              </a:ext>
            </a:extLst>
          </p:cNvPr>
          <p:cNvSpPr txBox="1">
            <a:spLocks/>
          </p:cNvSpPr>
          <p:nvPr/>
        </p:nvSpPr>
        <p:spPr>
          <a:xfrm>
            <a:off x="838199" y="1488000"/>
            <a:ext cx="10641037" cy="492686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 err="1">
                <a:latin typeface="Georgia" panose="02040502050405020303" pitchFamily="18" charset="0"/>
              </a:rPr>
              <a:t>abc</a:t>
            </a:r>
            <a:endParaRPr lang="en-IN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8707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E2A65C-D9A3-448B-9861-3F35F9AB8E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E2A65C-D9A3-448B-9861-3F35F9AB8E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2E5AF3C-75C3-E665-BF5B-3BD3838F0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4-01-2023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0DDBFD-1CD0-3CDC-4A75-8D320A75E4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Climate Champions: Localise the Net Zero 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5E7CCE-19E9-8886-4B2B-04BE15FF0B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DB537-B188-4FDA-8633-E325FA7C3E8C}" type="slidenum">
              <a:rPr lang="en-IN" smtClean="0"/>
              <a:t>7</a:t>
            </a:fld>
            <a:endParaRPr lang="en-IN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297A4B2-5024-8FF3-7921-7CAD210D0F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658" y="266652"/>
            <a:ext cx="10515600" cy="760290"/>
          </a:xfrm>
        </p:spPr>
        <p:txBody>
          <a:bodyPr/>
          <a:lstStyle/>
          <a:p>
            <a:r>
              <a:rPr lang="en-US" sz="4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cs typeface="Times New Roman" panose="02020603050405020304" pitchFamily="18" charset="0"/>
              </a:rPr>
              <a:t>Video Clips</a:t>
            </a:r>
            <a:endParaRPr lang="en-IN" sz="4000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287B7EA-29A8-29CD-8364-B254C3F20085}"/>
              </a:ext>
            </a:extLst>
          </p:cNvPr>
          <p:cNvSpPr txBox="1">
            <a:spLocks/>
          </p:cNvSpPr>
          <p:nvPr/>
        </p:nvSpPr>
        <p:spPr>
          <a:xfrm>
            <a:off x="838199" y="1488000"/>
            <a:ext cx="10641037" cy="492686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>
                <a:latin typeface="Georgia" panose="02040502050405020303" pitchFamily="18" charset="0"/>
              </a:rPr>
              <a:t>abc</a:t>
            </a:r>
            <a:endParaRPr lang="en-IN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88310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E2A65C-D9A3-448B-9861-3F35F9AB8E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E2A65C-D9A3-448B-9861-3F35F9AB8E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576295-1256-605B-7DC4-7809313BF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4-01-2023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024026-AE4A-FF3B-237C-24D8315D9E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Climate Champions: Localise the Net Zero 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7A95E4-8516-D799-4754-E924415156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DB537-B188-4FDA-8633-E325FA7C3E8C}" type="slidenum">
              <a:rPr lang="en-IN" smtClean="0"/>
              <a:t>8</a:t>
            </a:fld>
            <a:endParaRPr lang="en-IN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0689DFD-6CBB-E1CB-61CF-4F568D819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658" y="266652"/>
            <a:ext cx="10515600" cy="760290"/>
          </a:xfrm>
        </p:spPr>
        <p:txBody>
          <a:bodyPr/>
          <a:lstStyle/>
          <a:p>
            <a:r>
              <a:rPr lang="en-US" sz="4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cs typeface="Times New Roman" panose="02020603050405020304" pitchFamily="18" charset="0"/>
              </a:rPr>
              <a:t>Recap of the Main Idea</a:t>
            </a:r>
            <a:endParaRPr lang="en-IN" sz="4000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579E4-7D1E-E478-30AF-AA4D547FAC25}"/>
              </a:ext>
            </a:extLst>
          </p:cNvPr>
          <p:cNvSpPr txBox="1">
            <a:spLocks/>
          </p:cNvSpPr>
          <p:nvPr/>
        </p:nvSpPr>
        <p:spPr>
          <a:xfrm>
            <a:off x="838199" y="1488000"/>
            <a:ext cx="10641037" cy="492686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>
                <a:latin typeface="Georgia" panose="02040502050405020303" pitchFamily="18" charset="0"/>
              </a:rPr>
              <a:t>abc</a:t>
            </a:r>
            <a:endParaRPr lang="en-IN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60453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E2A65C-D9A3-448B-9861-3F35F9AB8E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E2A65C-D9A3-448B-9861-3F35F9AB8E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748FCF4C-D1F6-F70B-A8B5-75DB87C60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914" y="162437"/>
            <a:ext cx="10515600" cy="1018955"/>
          </a:xfrm>
        </p:spPr>
        <p:txBody>
          <a:bodyPr/>
          <a:lstStyle/>
          <a:p>
            <a:r>
              <a:rPr lang="en-US" sz="4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cs typeface="Times New Roman" panose="02020603050405020304" pitchFamily="18" charset="0"/>
              </a:rPr>
              <a:t>Concluding Remark</a:t>
            </a:r>
            <a:endParaRPr lang="en-IN" sz="4000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DF1469D-142E-0E9E-826A-76F81C437F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4-01-2023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DD5363-F240-F782-DB1B-99DF0F4FEC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Climate Champions: Localise the Net Zero 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E270D0-93F6-A8CA-3CA9-DD728A2E9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DB537-B188-4FDA-8633-E325FA7C3E8C}" type="slidenum">
              <a:rPr lang="en-IN" smtClean="0"/>
              <a:t>9</a:t>
            </a:fld>
            <a:endParaRPr lang="en-IN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303241F-E9C1-CDF7-1974-F0EC3C61B339}"/>
              </a:ext>
            </a:extLst>
          </p:cNvPr>
          <p:cNvSpPr txBox="1">
            <a:spLocks/>
          </p:cNvSpPr>
          <p:nvPr/>
        </p:nvSpPr>
        <p:spPr>
          <a:xfrm>
            <a:off x="860473" y="1140533"/>
            <a:ext cx="5009271" cy="492686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 err="1">
                <a:latin typeface="Georgia" panose="02040502050405020303" pitchFamily="18" charset="0"/>
              </a:rPr>
              <a:t>abc</a:t>
            </a:r>
            <a:endParaRPr lang="en-IN" dirty="0">
              <a:latin typeface="Georgia" panose="02040502050405020303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F7A969B-765F-1299-E59A-A99B5169A13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4418" y="1181392"/>
            <a:ext cx="4845148" cy="484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4681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  <p:tag name="EYLAYOUT" val="Whit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</TotalTime>
  <Words>133</Words>
  <Application>Microsoft Office PowerPoint</Application>
  <PresentationFormat>Widescreen</PresentationFormat>
  <Paragraphs>46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Calibri Light</vt:lpstr>
      <vt:lpstr>Georgia</vt:lpstr>
      <vt:lpstr>Wingdings</vt:lpstr>
      <vt:lpstr>Office Theme</vt:lpstr>
      <vt:lpstr>think-cell Slide</vt:lpstr>
      <vt:lpstr>PowerPoint Presentation</vt:lpstr>
      <vt:lpstr>Inception of the Idea – Start of the Journey</vt:lpstr>
      <vt:lpstr>Challenges During the Journey</vt:lpstr>
      <vt:lpstr>Observations/Outcomes</vt:lpstr>
      <vt:lpstr>Achievements</vt:lpstr>
      <vt:lpstr>The Way Forward</vt:lpstr>
      <vt:lpstr>Video Clips</vt:lpstr>
      <vt:lpstr>Recap of the Main Idea</vt:lpstr>
      <vt:lpstr>Concluding Remar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ashima Garg</dc:creator>
  <cp:lastModifiedBy>poorva ranjan</cp:lastModifiedBy>
  <cp:revision>6</cp:revision>
  <dcterms:created xsi:type="dcterms:W3CDTF">2023-01-06T03:06:21Z</dcterms:created>
  <dcterms:modified xsi:type="dcterms:W3CDTF">2023-01-06T10:24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ppReportDate">
    <vt:lpwstr/>
  </property>
  <property fmtid="{D5CDD505-2E9C-101B-9397-08002B2CF9AE}" pid="3" name="WppReportVersion">
    <vt:lpwstr>Version 1.0</vt:lpwstr>
  </property>
  <property fmtid="{D5CDD505-2E9C-101B-9397-08002B2CF9AE}" pid="4" name="WppReportDraft">
    <vt:lpwstr>(Draft)</vt:lpwstr>
  </property>
  <property fmtid="{D5CDD505-2E9C-101B-9397-08002B2CF9AE}" pid="5" name="WppReportCurrencySymbol">
    <vt:lpwstr>₹</vt:lpwstr>
  </property>
  <property fmtid="{D5CDD505-2E9C-101B-9397-08002B2CF9AE}" pid="6" name="WppReportDashboardTitleText">
    <vt:lpwstr>Dashboard</vt:lpwstr>
  </property>
  <property fmtid="{D5CDD505-2E9C-101B-9397-08002B2CF9AE}" pid="7" name="WppReportShortPageNumberFormat">
    <vt:lpwstr>Page &lt;#&gt;</vt:lpwstr>
  </property>
  <property fmtid="{D5CDD505-2E9C-101B-9397-08002B2CF9AE}" pid="8" name="WppReportLongPageNumberFormat">
    <vt:lpwstr>Page &lt;#&gt; of &lt;PageCount&gt;</vt:lpwstr>
  </property>
  <property fmtid="{D5CDD505-2E9C-101B-9397-08002B2CF9AE}" pid="9" name="WppReportTocTitleText">
    <vt:lpwstr>Table of contents</vt:lpwstr>
  </property>
  <property fmtid="{D5CDD505-2E9C-101B-9397-08002B2CF9AE}" pid="10" name="WppReportIsTocUpdateRecommended">
    <vt:bool>true</vt:bool>
  </property>
  <property fmtid="{D5CDD505-2E9C-101B-9397-08002B2CF9AE}" pid="11" name="WppReportPropertiesLastWrittenToDocument">
    <vt:filetime>2023-01-05T21:54:43Z</vt:filetime>
  </property>
</Properties>
</file>